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0"/>
  </p:notesMasterIdLst>
  <p:handoutMasterIdLst>
    <p:handoutMasterId r:id="rId11"/>
  </p:handoutMasterIdLst>
  <p:sldIdLst>
    <p:sldId id="2146847048" r:id="rId2"/>
    <p:sldId id="2146847062" r:id="rId3"/>
    <p:sldId id="2146847077" r:id="rId4"/>
    <p:sldId id="2146846784" r:id="rId5"/>
    <p:sldId id="2146846799" r:id="rId6"/>
    <p:sldId id="2146847059" r:id="rId7"/>
    <p:sldId id="2146846791" r:id="rId8"/>
    <p:sldId id="2146847054" r:id="rId9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IBM Plex Sans" panose="020B0503050203000203" pitchFamily="34" charset="0"/>
      <p:regular r:id="rId16"/>
      <p:bold r:id="rId17"/>
      <p:italic r:id="rId18"/>
      <p:boldItalic r:id="rId19"/>
    </p:embeddedFont>
    <p:embeddedFont>
      <p:font typeface="IBM Plex Sans Light" panose="020B0403050203000203" pitchFamily="34" charset="0"/>
      <p:regular r:id="rId20"/>
      <p:italic r:id="rId21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361"/>
    <p:restoredTop sz="96344"/>
  </p:normalViewPr>
  <p:slideViewPr>
    <p:cSldViewPr snapToGrid="0" snapToObjects="1">
      <p:cViewPr varScale="1">
        <p:scale>
          <a:sx n="211" d="100"/>
          <a:sy n="211" d="100"/>
        </p:scale>
        <p:origin x="760" y="8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40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39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627226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0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hyperlink" Target="https://ibm.ent.box.com/s/4yskrkefl1ssjxjmxx3kln87z5on4thx" TargetMode="Externa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s://techzone.ibm.com/collection/platinum-demos-straight-through-processin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5.xml"/><Relationship Id="rId4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2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docs/en/baw/20.x?topic=management-participating-in-processes" TargetMode="External"/><Relationship Id="rId7" Type="http://schemas.openxmlformats.org/officeDocument/2006/relationships/hyperlink" Target="https://www.ibm.com/docs/en/cloud-paks/cp-biz-automation/21.0.x?topic=visualization-business-performance-center" TargetMode="External"/><Relationship Id="rId2" Type="http://schemas.openxmlformats.org/officeDocument/2006/relationships/hyperlink" Target="https://www.ibm.com/docs/en/baw/20.x?topic=management-building-process-applications" TargetMode="Externa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cloud-paks/cp-biz-automation/21.0.x?topic=insights-discovering-business-automation" TargetMode="External"/><Relationship Id="rId5" Type="http://schemas.openxmlformats.org/officeDocument/2006/relationships/hyperlink" Target="https://www.ibm.com/docs/en/odmoc?topic=cloud-testing-decision-services" TargetMode="External"/><Relationship Id="rId4" Type="http://schemas.openxmlformats.org/officeDocument/2006/relationships/hyperlink" Target="https://www.ibm.com/docs/en/odmoc?topic=cloud-creating-decision-service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raight-through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8">
            <a:extLst>
              <a:ext uri="{FF2B5EF4-FFF2-40B4-BE49-F238E27FC236}">
                <a16:creationId xmlns:a16="http://schemas.microsoft.com/office/drawing/2014/main" id="{BF358172-52A0-1226-F53F-F24931953541}"/>
              </a:ext>
            </a:extLst>
          </p:cNvPr>
          <p:cNvGraphicFramePr>
            <a:graphicFrameLocks noGrp="1"/>
          </p:cNvGraphicFramePr>
          <p:nvPr/>
        </p:nvGraphicFramePr>
        <p:xfrm>
          <a:off x="228665" y="692448"/>
          <a:ext cx="8705023" cy="313436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20192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84831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ight-through processing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 customer refund example to illustrate how the Cloud Pak for Business Automation enables straight-through processing.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 as a Service</a:t>
                      </a:r>
                    </a:p>
                    <a:p>
                      <a:r>
                        <a:rPr lang="en-US" sz="1100" i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Alternatively, the demo can be hosted on Cloud Pak for Business Automation on ROKS]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flow; Decision management; Operational intelligenc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 as a Service (SaaS)</a:t>
                      </a:r>
                    </a:p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If ROKS, Cloud Pak for Business Automation 21.0.2]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https://techzone.ibm.com/collection/platinum-demos-straight-through-processing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vide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5"/>
                        </a:rPr>
                        <a:t>https://ibm.ent.box.com/s/4yskrkefl1ssjxjmxx3kln87z5on4thx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29061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C4DFE9-F84E-FD45-80E9-EC55A6549A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6EDB1330-5638-0F4A-8859-15193EFA1A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8894" y="3738703"/>
            <a:ext cx="6913643" cy="12545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42F6F4F-2368-0148-921F-0B715F3431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66254" y="3851777"/>
            <a:ext cx="2157984" cy="9172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managemen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E70B28F-E502-3F4A-A466-9690276D0D41}"/>
              </a:ext>
            </a:extLst>
          </p:cNvPr>
          <p:cNvGrpSpPr/>
          <p:nvPr/>
        </p:nvGrpSpPr>
        <p:grpSpPr>
          <a:xfrm>
            <a:off x="4481057" y="4243586"/>
            <a:ext cx="1528376" cy="371488"/>
            <a:chOff x="5153701" y="4260040"/>
            <a:chExt cx="1334091" cy="371488"/>
          </a:xfrm>
        </p:grpSpPr>
        <p:sp>
          <p:nvSpPr>
            <p:cNvPr id="56" name="Rectangle 3">
              <a:extLst>
                <a:ext uri="{FF2B5EF4-FFF2-40B4-BE49-F238E27FC236}">
                  <a16:creationId xmlns:a16="http://schemas.microsoft.com/office/drawing/2014/main" id="{80B94A2B-5D31-BA40-A643-1805EF1EF8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849262" y="4260040"/>
              <a:ext cx="638530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57" name="Rectangle 3">
              <a:extLst>
                <a:ext uri="{FF2B5EF4-FFF2-40B4-BE49-F238E27FC236}">
                  <a16:creationId xmlns:a16="http://schemas.microsoft.com/office/drawing/2014/main" id="{5A450628-5162-2D4F-97FC-9E52711D8F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153701" y="4260422"/>
              <a:ext cx="638530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50" name="Rectangle 3">
            <a:extLst>
              <a:ext uri="{FF2B5EF4-FFF2-40B4-BE49-F238E27FC236}">
                <a16:creationId xmlns:a16="http://schemas.microsoft.com/office/drawing/2014/main" id="{3C99431D-9F30-4E4B-BEFF-0E45CC8F10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98967" y="3857119"/>
            <a:ext cx="2157045" cy="9172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6A92B5F-CE9B-B348-AF18-03D93AE3B0A6}"/>
              </a:ext>
            </a:extLst>
          </p:cNvPr>
          <p:cNvGrpSpPr/>
          <p:nvPr/>
        </p:nvGrpSpPr>
        <p:grpSpPr>
          <a:xfrm>
            <a:off x="1979935" y="4240169"/>
            <a:ext cx="1995108" cy="374905"/>
            <a:chOff x="2157556" y="2439836"/>
            <a:chExt cx="3055355" cy="574138"/>
          </a:xfrm>
        </p:grpSpPr>
        <p:sp>
          <p:nvSpPr>
            <p:cNvPr id="52" name="Rectangle 3">
              <a:extLst>
                <a:ext uri="{FF2B5EF4-FFF2-40B4-BE49-F238E27FC236}">
                  <a16:creationId xmlns:a16="http://schemas.microsoft.com/office/drawing/2014/main" id="{AEAD252B-CD94-2E4E-B59D-A98F8CF760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260684" y="2439836"/>
              <a:ext cx="952227" cy="5741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l</a:t>
              </a:r>
            </a:p>
          </p:txBody>
        </p:sp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138A7A42-5454-A949-9530-F7AE462B25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57556" y="2439843"/>
              <a:ext cx="952227" cy="5741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54" name="Rectangle 3">
              <a:extLst>
                <a:ext uri="{FF2B5EF4-FFF2-40B4-BE49-F238E27FC236}">
                  <a16:creationId xmlns:a16="http://schemas.microsoft.com/office/drawing/2014/main" id="{DB2F2F27-2A83-A244-840D-DC8516F3B9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209120" y="2439837"/>
              <a:ext cx="952227" cy="5741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</p:grpSp>
      <p:sp>
        <p:nvSpPr>
          <p:cNvPr id="70" name="Rectangle 3">
            <a:extLst>
              <a:ext uri="{FF2B5EF4-FFF2-40B4-BE49-F238E27FC236}">
                <a16:creationId xmlns:a16="http://schemas.microsoft.com/office/drawing/2014/main" id="{107F23DC-6221-5E4F-B370-98123E09A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34479" y="3851777"/>
            <a:ext cx="2157984" cy="9172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al intelligence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1072E16-079F-454E-A566-19C102C09154}"/>
              </a:ext>
            </a:extLst>
          </p:cNvPr>
          <p:cNvGrpSpPr/>
          <p:nvPr/>
        </p:nvGrpSpPr>
        <p:grpSpPr>
          <a:xfrm>
            <a:off x="6748770" y="4243586"/>
            <a:ext cx="1529402" cy="371488"/>
            <a:chOff x="5153254" y="4260040"/>
            <a:chExt cx="1334986" cy="371488"/>
          </a:xfrm>
        </p:grpSpPr>
        <p:sp>
          <p:nvSpPr>
            <p:cNvPr id="72" name="Rectangle 3">
              <a:extLst>
                <a:ext uri="{FF2B5EF4-FFF2-40B4-BE49-F238E27FC236}">
                  <a16:creationId xmlns:a16="http://schemas.microsoft.com/office/drawing/2014/main" id="{D3B3ABA4-A251-0745-8D7E-A82B59E77E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49262" y="4260040"/>
              <a:ext cx="638978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shboards</a:t>
              </a:r>
            </a:p>
          </p:txBody>
        </p:sp>
        <p:sp>
          <p:nvSpPr>
            <p:cNvPr id="73" name="Rectangle 3">
              <a:extLst>
                <a:ext uri="{FF2B5EF4-FFF2-40B4-BE49-F238E27FC236}">
                  <a16:creationId xmlns:a16="http://schemas.microsoft.com/office/drawing/2014/main" id="{38B968E5-96A0-5F46-BFAC-AE4D076BA0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153254" y="4260422"/>
              <a:ext cx="638978" cy="371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ing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F5A44C7-0980-5745-9A4F-A5D9C3828766}"/>
              </a:ext>
            </a:extLst>
          </p:cNvPr>
          <p:cNvSpPr txBox="1"/>
          <p:nvPr/>
        </p:nvSpPr>
        <p:spPr>
          <a:xfrm>
            <a:off x="1788894" y="4777788"/>
            <a:ext cx="69136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 as a Service (IBM hosted and managed)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1407583-18EF-5051-D645-18F3BE767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0977525-905C-8042-93E4-96DB5EA7F460}"/>
              </a:ext>
            </a:extLst>
          </p:cNvPr>
          <p:cNvSpPr txBox="1"/>
          <p:nvPr/>
        </p:nvSpPr>
        <p:spPr>
          <a:xfrm>
            <a:off x="1788424" y="3521509"/>
            <a:ext cx="69136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</p:spTree>
    <p:extLst>
      <p:ext uri="{BB962C8B-B14F-4D97-AF65-F5344CB8AC3E}">
        <p14:creationId xmlns:p14="http://schemas.microsoft.com/office/powerpoint/2010/main" val="214581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3121A7-A6B6-684D-B4D2-9E6D8AC075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0212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3930815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1376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5779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D640BF7-B8C5-3319-886E-CA9694F64068}"/>
              </a:ext>
            </a:extLst>
          </p:cNvPr>
          <p:cNvGrpSpPr/>
          <p:nvPr/>
        </p:nvGrpSpPr>
        <p:grpSpPr>
          <a:xfrm>
            <a:off x="2602618" y="4143191"/>
            <a:ext cx="5739305" cy="483254"/>
            <a:chOff x="2602618" y="4173469"/>
            <a:chExt cx="5739305" cy="48325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602619" y="4173469"/>
              <a:ext cx="5739304" cy="483254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990032F-438D-7B4D-92E0-87BE922C0EE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12980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062C80D-D612-5B40-84ED-64EB1151A7B1}"/>
                </a:ext>
              </a:extLst>
            </p:cNvPr>
            <p:cNvSpPr/>
            <p:nvPr/>
          </p:nvSpPr>
          <p:spPr>
            <a:xfrm>
              <a:off x="2602618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4512979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manageme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4A78641-594F-A446-9340-2EBD75761528}"/>
                </a:ext>
              </a:extLst>
            </p:cNvPr>
            <p:cNvSpPr/>
            <p:nvPr/>
          </p:nvSpPr>
          <p:spPr>
            <a:xfrm>
              <a:off x="6431355" y="4173469"/>
              <a:ext cx="191036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onal intelligence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481360C-EF9C-FF41-88DA-A42AC08658D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25447" y="4271234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421EA1-F6E4-4947-A53E-2F8958B40153}"/>
              </a:ext>
            </a:extLst>
          </p:cNvPr>
          <p:cNvGrpSpPr/>
          <p:nvPr/>
        </p:nvGrpSpPr>
        <p:grpSpPr>
          <a:xfrm>
            <a:off x="2027554" y="1175728"/>
            <a:ext cx="6887779" cy="2462046"/>
            <a:chOff x="321522" y="1249072"/>
            <a:chExt cx="5558887" cy="2462046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0B183FB8-4831-B644-943B-4E48986119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21522" y="1249072"/>
              <a:ext cx="3726800" cy="81975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Focus Corp uses workflow to automate its end-to-end customer refund process. However, each request needs to be routed to a customer service agent for resolution and approval.</a:t>
              </a:r>
            </a:p>
          </p:txBody>
        </p:sp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F8FF6922-10A2-AC4A-88A4-B4D2631A4D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238326" y="2068830"/>
              <a:ext cx="3726800" cy="8229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creates business rules that can make real-time decisions to approve or deny 70% of refund requests, while still routing the other 30% to humans.</a:t>
              </a: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5EFB5C9F-192D-F94E-BC1D-824598CE22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55129" y="2888158"/>
              <a:ext cx="3725280" cy="8229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wants to increase straight-through processing to 80%. They use operational intelligence to monitor refund metrics and identify places to increase automation without increasing risk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616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3121A7-A6B6-684D-B4D2-9E6D8AC075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1F13DFAD-69BD-FC4B-805F-A21C2507E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92739" y="920234"/>
            <a:ext cx="7022593" cy="7863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71452" lvl="1" indent="-173736" defTabSz="914400" fontAlgn="base">
              <a:spcBef>
                <a:spcPts val="1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 Light" charset="-120"/>
              <a:buChar char="–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Automate straight-through processing to improve the customer experience</a:t>
            </a:r>
          </a:p>
          <a:p>
            <a:pPr marL="171452" lvl="1" indent="-173736" defTabSz="914400" fontAlgn="base">
              <a:spcBef>
                <a:spcPts val="1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IBM Plex Sans Light" charset="-120"/>
              <a:buChar char="–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Empower business users to transform customer service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CE41BB34-7C40-7E4B-9E2D-D3F38AF950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92741" y="1719372"/>
            <a:ext cx="7022592" cy="2000534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enefits highlighted in the demo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A1EFCAD6-D1E3-004F-8382-A14E2BF59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92741" y="3726466"/>
            <a:ext cx="7022592" cy="80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71452" lvl="1" indent="-173736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 Light" charset="-120"/>
              <a:buChar char="–"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y scalable from the smallest initial project to the largest enterprise deployment</a:t>
            </a:r>
          </a:p>
          <a:p>
            <a:pPr marL="171452" lvl="1" indent="-173736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IBM Plex Sans Light" charset="-120"/>
              <a:buChar char="–"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be deployed on premises, in any cloud, or on IBM-managed SaaS</a:t>
            </a:r>
          </a:p>
        </p:txBody>
      </p:sp>
      <p:cxnSp>
        <p:nvCxnSpPr>
          <p:cNvPr id="22" name="Straight Connector 1">
            <a:extLst>
              <a:ext uri="{FF2B5EF4-FFF2-40B4-BE49-F238E27FC236}">
                <a16:creationId xmlns:a16="http://schemas.microsoft.com/office/drawing/2014/main" id="{AFD96317-6C63-A540-9D2D-AC97C262F1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5899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38" name="Straight Connector 1">
            <a:extLst>
              <a:ext uri="{FF2B5EF4-FFF2-40B4-BE49-F238E27FC236}">
                <a16:creationId xmlns:a16="http://schemas.microsoft.com/office/drawing/2014/main" id="{14BE0A5D-93AC-3243-B91D-412EA1543A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1709970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39" name="Straight Connector 1">
            <a:extLst>
              <a:ext uri="{FF2B5EF4-FFF2-40B4-BE49-F238E27FC236}">
                <a16:creationId xmlns:a16="http://schemas.microsoft.com/office/drawing/2014/main" id="{7073BD0C-E532-FC44-B1F9-9ADBDE57B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723261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2BF7F831-5288-9C48-8E18-980DD1B7E80E}"/>
              </a:ext>
            </a:extLst>
          </p:cNvPr>
          <p:cNvSpPr/>
          <p:nvPr/>
        </p:nvSpPr>
        <p:spPr>
          <a:xfrm>
            <a:off x="210311" y="950302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 benefit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2E1341A-1F6E-CF4B-B378-A99A5C286553}"/>
              </a:ext>
            </a:extLst>
          </p:cNvPr>
          <p:cNvSpPr/>
          <p:nvPr/>
        </p:nvSpPr>
        <p:spPr>
          <a:xfrm>
            <a:off x="210311" y="1738658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ility benefit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DD05C39-2B44-994F-BA04-19BA397E8638}"/>
              </a:ext>
            </a:extLst>
          </p:cNvPr>
          <p:cNvSpPr/>
          <p:nvPr/>
        </p:nvSpPr>
        <p:spPr>
          <a:xfrm>
            <a:off x="210311" y="3757641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al benefi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BF4A10F-1FA7-C44D-AA01-B15BEC1DEA8D}"/>
              </a:ext>
            </a:extLst>
          </p:cNvPr>
          <p:cNvGrpSpPr/>
          <p:nvPr/>
        </p:nvGrpSpPr>
        <p:grpSpPr>
          <a:xfrm>
            <a:off x="2021992" y="1841087"/>
            <a:ext cx="6764090" cy="1757104"/>
            <a:chOff x="2021990" y="1907027"/>
            <a:chExt cx="6764090" cy="1757104"/>
          </a:xfrm>
        </p:grpSpPr>
        <p:sp>
          <p:nvSpPr>
            <p:cNvPr id="43" name="Rectangle 3">
              <a:extLst>
                <a:ext uri="{FF2B5EF4-FFF2-40B4-BE49-F238E27FC236}">
                  <a16:creationId xmlns:a16="http://schemas.microsoft.com/office/drawing/2014/main" id="{B19CA7BD-1F4F-5B42-8CA4-B9331A816C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21990" y="1907027"/>
              <a:ext cx="2194560" cy="17571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endParaRPr lang="en-US" sz="1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</a:p>
            <a:p>
              <a:pPr marL="171452" lvl="1" indent="-173736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 typeface="IBM Plex Sans Light" charset="-120"/>
                <a:buChar char="–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-code process design</a:t>
              </a:r>
            </a:p>
            <a:p>
              <a:pPr marL="171452" lvl="1" indent="-173736" defTabSz="914400" fontAlgn="base">
                <a:spcBef>
                  <a:spcPts val="60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 typeface="IBM Plex Sans Light" charset="-120"/>
                <a:buChar char="–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t started quickly with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d-to-end workflow; 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mentally add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itional automation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endPara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Rectangle 3">
              <a:extLst>
                <a:ext uri="{FF2B5EF4-FFF2-40B4-BE49-F238E27FC236}">
                  <a16:creationId xmlns:a16="http://schemas.microsoft.com/office/drawing/2014/main" id="{DB20A92A-391B-9A49-83AD-350C6BF22A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306755" y="1907027"/>
              <a:ext cx="2194560" cy="17571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endParaRPr lang="en-US" sz="1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management</a:t>
              </a:r>
            </a:p>
            <a:p>
              <a:pPr marL="171452" lvl="1" indent="-173736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 typeface="IBM Plex Sans Light" charset="-120"/>
                <a:buChar char="–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 rules are written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natural language format</a:t>
              </a:r>
            </a:p>
            <a:p>
              <a:pPr marL="171452" lvl="1" indent="-173736" defTabSz="914400" fontAlgn="base">
                <a:spcBef>
                  <a:spcPts val="60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 typeface="IBM Plex Sans Light" charset="-120"/>
                <a:buChar char="–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ase straight-through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ing by automating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al decision making</a:t>
              </a:r>
            </a:p>
          </p:txBody>
        </p:sp>
        <p:sp>
          <p:nvSpPr>
            <p:cNvPr id="45" name="Rectangle 3">
              <a:extLst>
                <a:ext uri="{FF2B5EF4-FFF2-40B4-BE49-F238E27FC236}">
                  <a16:creationId xmlns:a16="http://schemas.microsoft.com/office/drawing/2014/main" id="{11802BCC-CE5C-E84F-9170-AE554C026F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591520" y="1907027"/>
              <a:ext cx="2194560" cy="17571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anchor="t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endParaRPr lang="en-US" sz="1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onal intelligence</a:t>
              </a:r>
            </a:p>
            <a:p>
              <a:pPr marL="171452" lvl="1" indent="-173736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 typeface="IBM Plex Sans Light" charset="-120"/>
                <a:buChar char="–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pture and consolidate 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onal data</a:t>
              </a:r>
            </a:p>
            <a:p>
              <a:pPr marL="171452" lvl="1" indent="-173736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 typeface="IBM Plex Sans Light" charset="-120"/>
                <a:buChar char="–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sualize data with </a:t>
              </a:r>
              <a:b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onal dashboar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1047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3121A7-A6B6-684D-B4D2-9E6D8AC075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3F996B-5E95-4D46-B53C-FCF10FC1A669}"/>
              </a:ext>
            </a:extLst>
          </p:cNvPr>
          <p:cNvGrpSpPr/>
          <p:nvPr/>
        </p:nvGrpSpPr>
        <p:grpSpPr>
          <a:xfrm>
            <a:off x="1275976" y="797321"/>
            <a:ext cx="1731031" cy="1690176"/>
            <a:chOff x="118956" y="3101112"/>
            <a:chExt cx="2212829" cy="1690176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F13DFAD-69BD-FC4B-805F-A21C2507E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18956" y="3101112"/>
              <a:ext cx="2212829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nual approvals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18956" y="3618411"/>
              <a:ext cx="2212829" cy="1172877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nual approvals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naged by workflow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no straight-through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cessing)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28875B-5713-2C4F-AEA2-F532D8B88F4F}"/>
              </a:ext>
            </a:extLst>
          </p:cNvPr>
          <p:cNvGrpSpPr/>
          <p:nvPr/>
        </p:nvGrpSpPr>
        <p:grpSpPr>
          <a:xfrm>
            <a:off x="3706484" y="797420"/>
            <a:ext cx="1731030" cy="1689979"/>
            <a:chOff x="1955822" y="1764820"/>
            <a:chExt cx="2212826" cy="1689979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9B280A5F-18FE-3E43-8B97-CDE8D51B0F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955822" y="1764820"/>
              <a:ext cx="2212826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cision modeling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DCF49236-97C3-D64F-A92A-7A9663ADA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955822" y="2284367"/>
              <a:ext cx="2212826" cy="117043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odel decisions to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e refund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termination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436F63D-74C7-E54E-86F0-F262D838D463}"/>
              </a:ext>
            </a:extLst>
          </p:cNvPr>
          <p:cNvGrpSpPr/>
          <p:nvPr/>
        </p:nvGrpSpPr>
        <p:grpSpPr>
          <a:xfrm>
            <a:off x="6136991" y="793207"/>
            <a:ext cx="1731030" cy="1698404"/>
            <a:chOff x="3497729" y="1764942"/>
            <a:chExt cx="2065304" cy="1698404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2060B1-2A09-714B-A299-B99F4946E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97729" y="1764942"/>
              <a:ext cx="2065304" cy="52073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orkflow execution</a:t>
              </a: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DF3D78-1210-3F42-BFE5-5FEFF72DF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97729" y="2292914"/>
              <a:ext cx="2065304" cy="117043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ll refund decisions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rom workflow</a:t>
              </a:r>
            </a:p>
          </p:txBody>
        </p:sp>
      </p:grpSp>
      <p:sp>
        <p:nvSpPr>
          <p:cNvPr id="6" name="Right Arrow 5">
            <a:extLst>
              <a:ext uri="{FF2B5EF4-FFF2-40B4-BE49-F238E27FC236}">
                <a16:creationId xmlns:a16="http://schemas.microsoft.com/office/drawing/2014/main" id="{308772FF-5C22-0949-9B77-ECD7469501CB}"/>
              </a:ext>
            </a:extLst>
          </p:cNvPr>
          <p:cNvSpPr/>
          <p:nvPr/>
        </p:nvSpPr>
        <p:spPr bwMode="auto">
          <a:xfrm>
            <a:off x="3112047" y="1455666"/>
            <a:ext cx="489397" cy="373487"/>
          </a:xfrm>
          <a:prstGeom prst="rightArrow">
            <a:avLst/>
          </a:prstGeom>
          <a:solidFill>
            <a:schemeClr val="accent1"/>
          </a:solidFill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C4216C5F-D81F-EF41-8F06-95473350260F}"/>
              </a:ext>
            </a:extLst>
          </p:cNvPr>
          <p:cNvSpPr/>
          <p:nvPr/>
        </p:nvSpPr>
        <p:spPr bwMode="auto">
          <a:xfrm>
            <a:off x="5542554" y="1455666"/>
            <a:ext cx="489397" cy="373487"/>
          </a:xfrm>
          <a:prstGeom prst="rightArrow">
            <a:avLst/>
          </a:prstGeom>
          <a:solidFill>
            <a:schemeClr val="accent1"/>
          </a:solidFill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FF90811-0172-739B-D315-E93880B4B390}"/>
              </a:ext>
            </a:extLst>
          </p:cNvPr>
          <p:cNvGrpSpPr/>
          <p:nvPr/>
        </p:nvGrpSpPr>
        <p:grpSpPr>
          <a:xfrm>
            <a:off x="2489997" y="2649677"/>
            <a:ext cx="1731032" cy="1697216"/>
            <a:chOff x="2489997" y="2651889"/>
            <a:chExt cx="1731032" cy="1697216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BFEE4C56-419A-E84C-BBAB-057789204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89997" y="2651889"/>
              <a:ext cx="1731031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cess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rovement</a:t>
              </a: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52E9637-FC02-FF43-8151-2DF48659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89998" y="3178673"/>
              <a:ext cx="1731031" cy="117043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ine decisions to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crease straight-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rough processing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8919A6A-4443-5AD7-0FFB-372D86A91F89}"/>
              </a:ext>
            </a:extLst>
          </p:cNvPr>
          <p:cNvGrpSpPr/>
          <p:nvPr/>
        </p:nvGrpSpPr>
        <p:grpSpPr>
          <a:xfrm>
            <a:off x="4922971" y="2653296"/>
            <a:ext cx="1731030" cy="1689979"/>
            <a:chOff x="4922971" y="2647466"/>
            <a:chExt cx="1731030" cy="1689979"/>
          </a:xfrm>
        </p:grpSpPr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9B5082C3-5FFE-8849-8E57-27732AACE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22971" y="2647466"/>
              <a:ext cx="173103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erational</a:t>
              </a:r>
              <a:b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elligence</a:t>
              </a:r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975AEB0C-5251-D44E-9BAE-3A1C99610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22971" y="3167013"/>
              <a:ext cx="1731030" cy="117043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1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e operational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trics to identify</a:t>
              </a:r>
              <a:b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ion 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rovements</a:t>
              </a: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B7F6E0F8-2A58-1547-AD9F-558CEFEA4F00}"/>
              </a:ext>
            </a:extLst>
          </p:cNvPr>
          <p:cNvSpPr/>
          <p:nvPr/>
        </p:nvSpPr>
        <p:spPr bwMode="auto">
          <a:xfrm flipH="1">
            <a:off x="4327301" y="3311542"/>
            <a:ext cx="489397" cy="373487"/>
          </a:xfrm>
          <a:prstGeom prst="rightArrow">
            <a:avLst/>
          </a:prstGeom>
          <a:solidFill>
            <a:schemeClr val="accent1"/>
          </a:solidFill>
          <a:ln w="190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760274" y="3051877"/>
            <a:ext cx="643701" cy="633152"/>
            <a:chOff x="6674454" y="2968782"/>
            <a:chExt cx="643701" cy="633152"/>
          </a:xfrm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8782"/>
              <a:ext cx="182880" cy="548640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7568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3121A7-A6B6-684D-B4D2-9E6D8AC075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CE41BB34-7C40-7E4B-9E2D-D3F38AF950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74301" y="1264094"/>
            <a:ext cx="7595398" cy="261531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73F44035-9D10-7247-9529-2BEE7AA078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35529" y="1556766"/>
            <a:ext cx="2286000" cy="20299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55C0D2-E77D-854F-8976-C1DEB6AB7678}"/>
              </a:ext>
            </a:extLst>
          </p:cNvPr>
          <p:cNvGrpSpPr/>
          <p:nvPr/>
        </p:nvGrpSpPr>
        <p:grpSpPr>
          <a:xfrm>
            <a:off x="3573702" y="2490084"/>
            <a:ext cx="2009654" cy="568320"/>
            <a:chOff x="1144687" y="3870904"/>
            <a:chExt cx="2009654" cy="568320"/>
          </a:xfrm>
        </p:grpSpPr>
        <p:sp>
          <p:nvSpPr>
            <p:cNvPr id="20" name="Rectangle 3">
              <a:extLst>
                <a:ext uri="{FF2B5EF4-FFF2-40B4-BE49-F238E27FC236}">
                  <a16:creationId xmlns:a16="http://schemas.microsoft.com/office/drawing/2014/main" id="{7E9D7F50-8D03-E94B-9004-37FD023050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85077" y="3870904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FFEDE4F3-FAA3-AB41-9463-1E765DE363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144687" y="3870904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23" name="Rectangle 3">
            <a:extLst>
              <a:ext uri="{FF2B5EF4-FFF2-40B4-BE49-F238E27FC236}">
                <a16:creationId xmlns:a16="http://schemas.microsoft.com/office/drawing/2014/main" id="{5FB19BC9-532E-9148-8FA8-32005DB6A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12604" y="1556656"/>
            <a:ext cx="2285169" cy="20299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1A2742B-9AFF-5F4A-8D3A-8E8726C5E703}"/>
              </a:ext>
            </a:extLst>
          </p:cNvPr>
          <p:cNvGrpSpPr/>
          <p:nvPr/>
        </p:nvGrpSpPr>
        <p:grpSpPr>
          <a:xfrm>
            <a:off x="1150360" y="2166610"/>
            <a:ext cx="2009657" cy="1215301"/>
            <a:chOff x="2416601" y="1920345"/>
            <a:chExt cx="2009657" cy="1215301"/>
          </a:xfrm>
        </p:grpSpPr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E417BF05-2F03-2749-BA56-44BF41D60F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456994" y="1920345"/>
              <a:ext cx="969264" cy="5669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l</a:t>
              </a: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ED22FEF-22FA-5747-A9D5-E4BCFAF87B4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416601" y="1920345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AE683AE8-023C-9E47-977B-1190AB5008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942472" y="2567326"/>
              <a:ext cx="969264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</p:grpSp>
      <p:sp>
        <p:nvSpPr>
          <p:cNvPr id="37" name="Rectangle 3">
            <a:extLst>
              <a:ext uri="{FF2B5EF4-FFF2-40B4-BE49-F238E27FC236}">
                <a16:creationId xmlns:a16="http://schemas.microsoft.com/office/drawing/2014/main" id="{EFF1B789-DED8-2B4A-8926-B80605D2A3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45396" y="1556656"/>
            <a:ext cx="2285999" cy="20299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al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ce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CD31AB0-E54D-4F4A-8868-524082CFFCF1}"/>
              </a:ext>
            </a:extLst>
          </p:cNvPr>
          <p:cNvGrpSpPr/>
          <p:nvPr/>
        </p:nvGrpSpPr>
        <p:grpSpPr>
          <a:xfrm>
            <a:off x="5984088" y="2489976"/>
            <a:ext cx="2008614" cy="568320"/>
            <a:chOff x="1145207" y="3870904"/>
            <a:chExt cx="2008614" cy="568320"/>
          </a:xfrm>
        </p:grpSpPr>
        <p:sp>
          <p:nvSpPr>
            <p:cNvPr id="39" name="Rectangle 3">
              <a:extLst>
                <a:ext uri="{FF2B5EF4-FFF2-40B4-BE49-F238E27FC236}">
                  <a16:creationId xmlns:a16="http://schemas.microsoft.com/office/drawing/2014/main" id="{8B7D1E53-15F6-4340-91D2-49F42903F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85078" y="3870904"/>
              <a:ext cx="96874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shboards</a:t>
              </a:r>
            </a:p>
          </p:txBody>
        </p:sp>
        <p:sp>
          <p:nvSpPr>
            <p:cNvPr id="40" name="Rectangle 3">
              <a:extLst>
                <a:ext uri="{FF2B5EF4-FFF2-40B4-BE49-F238E27FC236}">
                  <a16:creationId xmlns:a16="http://schemas.microsoft.com/office/drawing/2014/main" id="{FF3B8B9B-D34C-A747-BBDF-DF245EF2A2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145207" y="3870904"/>
              <a:ext cx="96874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4128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Building process application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Participating in processe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Creating decision service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Testing decision service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Discovering operational insight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Business monitoring and dashboard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C4DFE9-F84E-FD45-80E9-EC55A6549A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685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3924</TotalTime>
  <Words>604</Words>
  <Application>Microsoft Macintosh PowerPoint</Application>
  <PresentationFormat>On-screen Show (16:9)</PresentationFormat>
  <Paragraphs>128</Paragraphs>
  <Slides>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IBM Plex Sans Light</vt:lpstr>
      <vt:lpstr>System Font Regular</vt:lpstr>
      <vt:lpstr>IBM Plex Sans</vt:lpstr>
      <vt:lpstr>Calibri</vt:lpstr>
      <vt:lpstr>Arial</vt:lpstr>
      <vt:lpstr>IBM Brand Template 2022</vt:lpstr>
      <vt:lpstr>PowerPoint Presentation</vt:lpstr>
      <vt:lpstr>Demo overview</vt:lpstr>
      <vt:lpstr>Demo overview</vt:lpstr>
      <vt:lpstr>Benefits highlighted in the demo </vt:lpstr>
      <vt:lpstr>Demo flow</vt:lpstr>
      <vt:lpstr>Demo components </vt:lpstr>
      <vt:lpstr>Additional learning resour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107</cp:revision>
  <cp:lastPrinted>2019-04-25T15:14:05Z</cp:lastPrinted>
  <dcterms:created xsi:type="dcterms:W3CDTF">2022-03-29T18:01:01Z</dcterms:created>
  <dcterms:modified xsi:type="dcterms:W3CDTF">2022-06-17T19:59:51Z</dcterms:modified>
</cp:coreProperties>
</file>